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80" r:id="rId1"/>
  </p:sldMasterIdLst>
  <p:notesMasterIdLst>
    <p:notesMasterId r:id="rId3"/>
  </p:notesMasterIdLst>
  <p:handoutMasterIdLst>
    <p:handoutMasterId r:id="rId4"/>
  </p:handoutMasterIdLst>
  <p:sldIdLst>
    <p:sldId id="311" r:id="rId2"/>
  </p:sldIdLst>
  <p:sldSz cx="10058400" cy="15544800"/>
  <p:notesSz cx="7010400" cy="92964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3" userDrawn="1">
          <p15:clr>
            <a:srgbClr val="A4A3A4"/>
          </p15:clr>
        </p15:guide>
        <p15:guide id="2" pos="211" userDrawn="1">
          <p15:clr>
            <a:srgbClr val="A4A3A4"/>
          </p15:clr>
        </p15:guide>
        <p15:guide id="3" orient="horz" pos="8595" userDrawn="1">
          <p15:clr>
            <a:srgbClr val="A4A3A4"/>
          </p15:clr>
        </p15:guide>
        <p15:guide id="5" pos="17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tum, TJ" initials="TT" lastIdx="4" clrIdx="0">
    <p:extLst>
      <p:ext uri="{19B8F6BF-5375-455C-9EA6-DF929625EA0E}">
        <p15:presenceInfo xmlns:p15="http://schemas.microsoft.com/office/powerpoint/2012/main" userId="Tatum, TJ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DC3"/>
    <a:srgbClr val="7F7F7F"/>
    <a:srgbClr val="5B9BD5"/>
    <a:srgbClr val="F7F7F7"/>
    <a:srgbClr val="EBF2F9"/>
    <a:srgbClr val="BAD2EB"/>
    <a:srgbClr val="75A5D8"/>
    <a:srgbClr val="003B6F"/>
    <a:srgbClr val="A29E9F"/>
    <a:srgbClr val="AFAE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90" autoAdjust="0"/>
    <p:restoredTop sz="95501" autoAdjust="0"/>
  </p:normalViewPr>
  <p:slideViewPr>
    <p:cSldViewPr snapToGrid="0" snapToObjects="1">
      <p:cViewPr varScale="1">
        <p:scale>
          <a:sx n="35" d="100"/>
          <a:sy n="35" d="100"/>
        </p:scale>
        <p:origin x="2502" y="72"/>
      </p:cViewPr>
      <p:guideLst>
        <p:guide orient="horz" pos="4533"/>
        <p:guide pos="211"/>
        <p:guide orient="horz" pos="8595"/>
        <p:guide pos="1716"/>
      </p:guideLst>
    </p:cSldViewPr>
  </p:slideViewPr>
  <p:outlineViewPr>
    <p:cViewPr>
      <p:scale>
        <a:sx n="85" d="100"/>
        <a:sy n="85" d="100"/>
      </p:scale>
      <p:origin x="0" y="-1720"/>
    </p:cViewPr>
  </p:outlin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110" d="100"/>
        <a:sy n="110" d="100"/>
      </p:scale>
      <p:origin x="0" y="-19296"/>
    </p:cViewPr>
  </p:sorterViewPr>
  <p:notesViewPr>
    <p:cSldViewPr snapToGrid="0" snapToObjects="1">
      <p:cViewPr varScale="1">
        <p:scale>
          <a:sx n="64" d="100"/>
          <a:sy n="64" d="100"/>
        </p:scale>
        <p:origin x="308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52" tIns="46576" rIns="93152" bIns="46576" rtlCol="0"/>
          <a:lstStyle>
            <a:lvl1pPr algn="l">
              <a:defRPr sz="1300"/>
            </a:lvl1pPr>
          </a:lstStyle>
          <a:p>
            <a:endParaRPr lang="en-US" dirty="0">
              <a:latin typeface="Century Gothic Regular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7" y="1"/>
            <a:ext cx="3037840" cy="466434"/>
          </a:xfrm>
          <a:prstGeom prst="rect">
            <a:avLst/>
          </a:prstGeom>
        </p:spPr>
        <p:txBody>
          <a:bodyPr vert="horz" lIns="93152" tIns="46576" rIns="93152" bIns="46576" rtlCol="0"/>
          <a:lstStyle>
            <a:lvl1pPr algn="r">
              <a:defRPr sz="1300"/>
            </a:lvl1pPr>
          </a:lstStyle>
          <a:p>
            <a:fld id="{7F20AE65-C0BD-C04E-BCC7-34DDD4896FED}" type="datetimeFigureOut">
              <a:rPr lang="en-US" smtClean="0">
                <a:latin typeface="Century Gothic Regular" charset="0"/>
              </a:rPr>
              <a:t>3/10/2018</a:t>
            </a:fld>
            <a:endParaRPr lang="en-US" dirty="0">
              <a:latin typeface="Century Gothic Regular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70"/>
            <a:ext cx="3037840" cy="466433"/>
          </a:xfrm>
          <a:prstGeom prst="rect">
            <a:avLst/>
          </a:prstGeom>
        </p:spPr>
        <p:txBody>
          <a:bodyPr vert="horz" lIns="93152" tIns="46576" rIns="93152" bIns="46576" rtlCol="0" anchor="b"/>
          <a:lstStyle>
            <a:lvl1pPr algn="l">
              <a:defRPr sz="1300"/>
            </a:lvl1pPr>
          </a:lstStyle>
          <a:p>
            <a:endParaRPr lang="en-US" dirty="0">
              <a:latin typeface="Century Gothic Regular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7" y="8829970"/>
            <a:ext cx="3037840" cy="466433"/>
          </a:xfrm>
          <a:prstGeom prst="rect">
            <a:avLst/>
          </a:prstGeom>
        </p:spPr>
        <p:txBody>
          <a:bodyPr vert="horz" lIns="93152" tIns="46576" rIns="93152" bIns="46576" rtlCol="0" anchor="b"/>
          <a:lstStyle>
            <a:lvl1pPr algn="r">
              <a:defRPr sz="1300"/>
            </a:lvl1pPr>
          </a:lstStyle>
          <a:p>
            <a:fld id="{415F9211-E84E-4B46-ADD2-E1521CC01A7B}" type="slidenum">
              <a:rPr lang="en-US" smtClean="0">
                <a:latin typeface="Century Gothic Regular" charset="0"/>
              </a:rPr>
              <a:t>‹#›</a:t>
            </a:fld>
            <a:endParaRPr lang="en-US" dirty="0">
              <a:latin typeface="Century Gothic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25822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52" tIns="46576" rIns="93152" bIns="46576" rtlCol="0"/>
          <a:lstStyle>
            <a:lvl1pPr algn="l">
              <a:defRPr sz="1300" b="0" i="0">
                <a:latin typeface="Century Gothic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7" y="1"/>
            <a:ext cx="3037840" cy="466434"/>
          </a:xfrm>
          <a:prstGeom prst="rect">
            <a:avLst/>
          </a:prstGeom>
        </p:spPr>
        <p:txBody>
          <a:bodyPr vert="horz" lIns="93152" tIns="46576" rIns="93152" bIns="46576" rtlCol="0"/>
          <a:lstStyle>
            <a:lvl1pPr algn="r">
              <a:defRPr sz="1300" b="0" i="0">
                <a:latin typeface="Century Gothic Regular" charset="0"/>
              </a:defRPr>
            </a:lvl1pPr>
          </a:lstStyle>
          <a:p>
            <a:fld id="{C54110DD-82DE-034E-B7F0-0CD66E06BFCA}" type="datetimeFigureOut">
              <a:rPr lang="en-US" smtClean="0"/>
              <a:pPr/>
              <a:t>3/1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490788" y="1162050"/>
            <a:ext cx="202882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2" tIns="46576" rIns="93152" bIns="4657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4"/>
            <a:ext cx="5608320" cy="3660458"/>
          </a:xfrm>
          <a:prstGeom prst="rect">
            <a:avLst/>
          </a:prstGeom>
        </p:spPr>
        <p:txBody>
          <a:bodyPr vert="horz" lIns="93152" tIns="46576" rIns="93152" bIns="4657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0"/>
            <a:ext cx="3037840" cy="466433"/>
          </a:xfrm>
          <a:prstGeom prst="rect">
            <a:avLst/>
          </a:prstGeom>
        </p:spPr>
        <p:txBody>
          <a:bodyPr vert="horz" lIns="93152" tIns="46576" rIns="93152" bIns="46576" rtlCol="0" anchor="b"/>
          <a:lstStyle>
            <a:lvl1pPr algn="l">
              <a:defRPr sz="1300" b="0" i="0">
                <a:latin typeface="Century Gothic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7" y="8829970"/>
            <a:ext cx="3037840" cy="466433"/>
          </a:xfrm>
          <a:prstGeom prst="rect">
            <a:avLst/>
          </a:prstGeom>
        </p:spPr>
        <p:txBody>
          <a:bodyPr vert="horz" lIns="93152" tIns="46576" rIns="93152" bIns="46576" rtlCol="0" anchor="b"/>
          <a:lstStyle>
            <a:lvl1pPr algn="r">
              <a:defRPr sz="1300" b="0" i="0">
                <a:latin typeface="Century Gothic Regular" charset="0"/>
              </a:defRPr>
            </a:lvl1pPr>
          </a:lstStyle>
          <a:p>
            <a:fld id="{A693996D-7F97-6B49-9E54-15ACC6F413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4967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entury Gothic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Century Gothic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Century Gothic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Century Gothic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Century Gothic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2544023"/>
            <a:ext cx="8549640" cy="5411893"/>
          </a:xfrm>
        </p:spPr>
        <p:txBody>
          <a:bodyPr anchor="b"/>
          <a:lstStyle>
            <a:lvl1pPr algn="ctr"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8164619"/>
            <a:ext cx="7543800" cy="3753061"/>
          </a:xfrm>
        </p:spPr>
        <p:txBody>
          <a:bodyPr/>
          <a:lstStyle>
            <a:lvl1pPr marL="0" indent="0" algn="ctr">
              <a:buNone/>
              <a:defRPr sz="2640"/>
            </a:lvl1pPr>
            <a:lvl2pPr marL="502920" indent="0" algn="ctr">
              <a:buNone/>
              <a:defRPr sz="2200"/>
            </a:lvl2pPr>
            <a:lvl3pPr marL="1005840" indent="0" algn="ctr">
              <a:buNone/>
              <a:defRPr sz="1980"/>
            </a:lvl3pPr>
            <a:lvl4pPr marL="1508760" indent="0" algn="ctr">
              <a:buNone/>
              <a:defRPr sz="1760"/>
            </a:lvl4pPr>
            <a:lvl5pPr marL="2011680" indent="0" algn="ctr">
              <a:buNone/>
              <a:defRPr sz="1760"/>
            </a:lvl5pPr>
            <a:lvl6pPr marL="2514600" indent="0" algn="ctr">
              <a:buNone/>
              <a:defRPr sz="1760"/>
            </a:lvl6pPr>
            <a:lvl7pPr marL="3017520" indent="0" algn="ctr">
              <a:buNone/>
              <a:defRPr sz="1760"/>
            </a:lvl7pPr>
            <a:lvl8pPr marL="3520440" indent="0" algn="ctr">
              <a:buNone/>
              <a:defRPr sz="1760"/>
            </a:lvl8pPr>
            <a:lvl9pPr marL="4023360" indent="0" algn="ctr">
              <a:buNone/>
              <a:defRPr sz="176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918877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08076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3" y="827617"/>
            <a:ext cx="2168843" cy="1317349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827617"/>
            <a:ext cx="6380798" cy="1317349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039565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909664"/>
              </p:ext>
            </p:extLst>
          </p:nvPr>
        </p:nvGraphicFramePr>
        <p:xfrm>
          <a:off x="1749" y="4802"/>
          <a:ext cx="1746" cy="4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9" y="4802"/>
                        <a:ext cx="1746" cy="4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36728995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orient="horz" pos="834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0058400" cy="1554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3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2357438" y="1177685"/>
            <a:ext cx="2043113" cy="2130213"/>
          </a:xfrm>
          <a:prstGeom prst="rect">
            <a:avLst/>
          </a:prstGeom>
          <a:solidFill>
            <a:srgbClr val="0055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30" dirty="0">
                <a:solidFill>
                  <a:prstClr val="white"/>
                </a:solidFill>
              </a:rPr>
              <a:t>0 85 129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2357438" y="3982147"/>
            <a:ext cx="2043113" cy="213021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30" dirty="0">
                <a:solidFill>
                  <a:prstClr val="white"/>
                </a:solidFill>
              </a:rPr>
              <a:t>127 127 127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57438" y="6786609"/>
            <a:ext cx="2043113" cy="213021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30" dirty="0">
                <a:solidFill>
                  <a:prstClr val="white"/>
                </a:solidFill>
              </a:rPr>
              <a:t>255 0 0 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2357438" y="9591074"/>
            <a:ext cx="2043113" cy="21302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30" dirty="0">
                <a:solidFill>
                  <a:prstClr val="white"/>
                </a:solidFill>
              </a:rPr>
              <a:t>95 155 213</a:t>
            </a:r>
            <a:br>
              <a:rPr lang="en-US" sz="1530" dirty="0">
                <a:solidFill>
                  <a:prstClr val="white"/>
                </a:solidFill>
              </a:rPr>
            </a:br>
            <a:r>
              <a:rPr lang="en-US" sz="1530" dirty="0">
                <a:solidFill>
                  <a:prstClr val="white"/>
                </a:solidFill>
              </a:rPr>
              <a:t>(80% Trans)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2357439" y="12529227"/>
            <a:ext cx="2043113" cy="2130213"/>
          </a:xfrm>
          <a:prstGeom prst="rect">
            <a:avLst/>
          </a:prstGeom>
          <a:solidFill>
            <a:srgbClr val="FF9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30" dirty="0">
                <a:solidFill>
                  <a:prstClr val="white"/>
                </a:solidFill>
              </a:rPr>
              <a:t>255</a:t>
            </a:r>
            <a:r>
              <a:rPr lang="en-US" sz="1530" baseline="0" dirty="0">
                <a:solidFill>
                  <a:prstClr val="white"/>
                </a:solidFill>
              </a:rPr>
              <a:t> 155 155</a:t>
            </a:r>
            <a:endParaRPr lang="en-US" sz="153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94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7364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277" y="3875409"/>
            <a:ext cx="8675370" cy="6466204"/>
          </a:xfrm>
        </p:spPr>
        <p:txBody>
          <a:bodyPr anchor="b"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277" y="10402786"/>
            <a:ext cx="8675370" cy="3400424"/>
          </a:xfrm>
        </p:spPr>
        <p:txBody>
          <a:bodyPr/>
          <a:lstStyle>
            <a:lvl1pPr marL="0" indent="0">
              <a:buNone/>
              <a:defRPr sz="2640">
                <a:solidFill>
                  <a:schemeClr val="tx1"/>
                </a:solidFill>
              </a:defRPr>
            </a:lvl1pPr>
            <a:lvl2pPr marL="5029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2pPr>
            <a:lvl3pPr marL="1005840" indent="0">
              <a:buNone/>
              <a:defRPr sz="1980">
                <a:solidFill>
                  <a:schemeClr val="tx1">
                    <a:tint val="75000"/>
                  </a:schemeClr>
                </a:solidFill>
              </a:defRPr>
            </a:lvl3pPr>
            <a:lvl4pPr marL="15087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4pPr>
            <a:lvl5pPr marL="201168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5pPr>
            <a:lvl6pPr marL="251460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6pPr>
            <a:lvl7pPr marL="301752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7pPr>
            <a:lvl8pPr marL="352044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8pPr>
            <a:lvl9pPr marL="40233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481361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1515" y="4138083"/>
            <a:ext cx="4274820" cy="98630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065" y="4138083"/>
            <a:ext cx="4274820" cy="98630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532334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827620"/>
            <a:ext cx="8675370" cy="30046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826" y="3810636"/>
            <a:ext cx="4255174" cy="1867534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826" y="5678170"/>
            <a:ext cx="4255174" cy="83517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066" y="3810636"/>
            <a:ext cx="4276130" cy="1867534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066" y="5678170"/>
            <a:ext cx="4276130" cy="83517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810087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448709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351103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1036320"/>
            <a:ext cx="3244096" cy="362712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130" y="2238167"/>
            <a:ext cx="5092065" cy="11046883"/>
          </a:xfrm>
        </p:spPr>
        <p:txBody>
          <a:bodyPr/>
          <a:lstStyle>
            <a:lvl1pPr>
              <a:defRPr sz="3520"/>
            </a:lvl1pPr>
            <a:lvl2pPr>
              <a:defRPr sz="3080"/>
            </a:lvl2pPr>
            <a:lvl3pPr>
              <a:defRPr sz="264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4663440"/>
            <a:ext cx="3244096" cy="8639599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79132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1036320"/>
            <a:ext cx="3244096" cy="362712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2238167"/>
            <a:ext cx="5092065" cy="11046883"/>
          </a:xfrm>
        </p:spPr>
        <p:txBody>
          <a:bodyPr anchor="t"/>
          <a:lstStyle>
            <a:lvl1pPr marL="0" indent="0">
              <a:buNone/>
              <a:defRPr sz="3520"/>
            </a:lvl1pPr>
            <a:lvl2pPr marL="502920" indent="0">
              <a:buNone/>
              <a:defRPr sz="3080"/>
            </a:lvl2pPr>
            <a:lvl3pPr marL="1005840" indent="0">
              <a:buNone/>
              <a:defRPr sz="2640"/>
            </a:lvl3pPr>
            <a:lvl4pPr marL="1508760" indent="0">
              <a:buNone/>
              <a:defRPr sz="2200"/>
            </a:lvl4pPr>
            <a:lvl5pPr marL="2011680" indent="0">
              <a:buNone/>
              <a:defRPr sz="2200"/>
            </a:lvl5pPr>
            <a:lvl6pPr marL="2514600" indent="0">
              <a:buNone/>
              <a:defRPr sz="2200"/>
            </a:lvl6pPr>
            <a:lvl7pPr marL="3017520" indent="0">
              <a:buNone/>
              <a:defRPr sz="2200"/>
            </a:lvl7pPr>
            <a:lvl8pPr marL="3520440" indent="0">
              <a:buNone/>
              <a:defRPr sz="2200"/>
            </a:lvl8pPr>
            <a:lvl9pPr marL="4023360" indent="0">
              <a:buNone/>
              <a:defRPr sz="22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4663440"/>
            <a:ext cx="3244096" cy="8639599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697986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1515" y="827620"/>
            <a:ext cx="8675370" cy="3004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1515" y="4138083"/>
            <a:ext cx="8675370" cy="98630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1515" y="14407730"/>
            <a:ext cx="226314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3/1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1845" y="14407730"/>
            <a:ext cx="339471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3745" y="14407730"/>
            <a:ext cx="226314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30655238"/>
              </p:ext>
            </p:extLst>
          </p:nvPr>
        </p:nvGraphicFramePr>
        <p:xfrm>
          <a:off x="1749" y="4802"/>
          <a:ext cx="1746" cy="4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08" name="think-cell Slide" r:id="rId17" imgW="360" imgH="359" progId="TCLayout.ActiveDocument.1">
                  <p:embed/>
                </p:oleObj>
              </mc:Choice>
              <mc:Fallback>
                <p:oleObj name="think-cell Slide" r:id="rId17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49" y="4802"/>
                        <a:ext cx="1746" cy="4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35298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45" r:id="rId13"/>
  </p:sldLayoutIdLst>
  <p:hf sldNum="0" hdr="0" dt="0"/>
  <p:txStyles>
    <p:titleStyle>
      <a:lvl1pPr algn="l" defTabSz="1005840" rtl="0" eaLnBrk="1" latinLnBrk="0" hangingPunct="1">
        <a:lnSpc>
          <a:spcPct val="90000"/>
        </a:lnSpc>
        <a:spcBef>
          <a:spcPct val="0"/>
        </a:spcBef>
        <a:buNone/>
        <a:defRPr sz="48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460" indent="-251460" algn="l" defTabSz="100584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3080" kern="1200">
          <a:solidFill>
            <a:schemeClr val="tx1"/>
          </a:solidFill>
          <a:latin typeface="+mn-lt"/>
          <a:ea typeface="+mn-ea"/>
          <a:cs typeface="+mn-cs"/>
        </a:defRPr>
      </a:lvl1pPr>
      <a:lvl2pPr marL="7543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602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26314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76606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2689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2748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68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4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3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g"/><Relationship Id="rId18" Type="http://schemas.openxmlformats.org/officeDocument/2006/relationships/image" Target="../media/image19.jp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jpg"/><Relationship Id="rId2" Type="http://schemas.openxmlformats.org/officeDocument/2006/relationships/image" Target="../media/image3.png"/><Relationship Id="rId16" Type="http://schemas.openxmlformats.org/officeDocument/2006/relationships/image" Target="../media/image17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jp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/>
          <p:cNvSpPr/>
          <p:nvPr/>
        </p:nvSpPr>
        <p:spPr>
          <a:xfrm>
            <a:off x="413425" y="3996417"/>
            <a:ext cx="9244584" cy="11213406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TextBox 96"/>
          <p:cNvSpPr txBox="1"/>
          <p:nvPr/>
        </p:nvSpPr>
        <p:spPr>
          <a:xfrm>
            <a:off x="3541530" y="4868613"/>
            <a:ext cx="2550526" cy="130035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RICHARD HEO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North, Central &amp; South America </a:t>
            </a:r>
          </a:p>
          <a:p>
            <a:pPr marL="137160" indent="-13716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easoned executive with extensive sales and operations experience</a:t>
            </a:r>
          </a:p>
          <a:p>
            <a:pPr marL="137160" indent="-13716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ed CB&amp;I’s Fabrication Services business</a:t>
            </a:r>
          </a:p>
          <a:p>
            <a:pPr marL="137160" indent="-137160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 leadership roles and responsibilities include technology sales and operational oversight for project and construction management, fabrication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hops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nd specialty engineered products </a:t>
            </a:r>
          </a:p>
        </p:txBody>
      </p:sp>
      <p:cxnSp>
        <p:nvCxnSpPr>
          <p:cNvPr id="98" name="Straight Connector 97"/>
          <p:cNvCxnSpPr/>
          <p:nvPr/>
        </p:nvCxnSpPr>
        <p:spPr>
          <a:xfrm>
            <a:off x="3623176" y="4857680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3702867" y="12655661"/>
            <a:ext cx="5861943" cy="2473028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" y="-1036"/>
            <a:ext cx="8915402" cy="13335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Freeform 119"/>
          <p:cNvSpPr/>
          <p:nvPr/>
        </p:nvSpPr>
        <p:spPr>
          <a:xfrm>
            <a:off x="7006388" y="-1036"/>
            <a:ext cx="1909013" cy="1333500"/>
          </a:xfrm>
          <a:custGeom>
            <a:avLst/>
            <a:gdLst>
              <a:gd name="connsiteX0" fmla="*/ 99949 w 2308535"/>
              <a:gd name="connsiteY0" fmla="*/ 0 h 1333500"/>
              <a:gd name="connsiteX1" fmla="*/ 2308535 w 2308535"/>
              <a:gd name="connsiteY1" fmla="*/ 0 h 1333500"/>
              <a:gd name="connsiteX2" fmla="*/ 2308535 w 2308535"/>
              <a:gd name="connsiteY2" fmla="*/ 1333500 h 1333500"/>
              <a:gd name="connsiteX3" fmla="*/ 193618 w 2308535"/>
              <a:gd name="connsiteY3" fmla="*/ 1333500 h 1333500"/>
              <a:gd name="connsiteX4" fmla="*/ 129160 w 2308535"/>
              <a:gd name="connsiteY4" fmla="*/ 1199694 h 1333500"/>
              <a:gd name="connsiteX5" fmla="*/ 0 w 2308535"/>
              <a:gd name="connsiteY5" fmla="*/ 559942 h 1333500"/>
              <a:gd name="connsiteX6" fmla="*/ 73892 w 2308535"/>
              <a:gd name="connsiteY6" fmla="*/ 71194 h 133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8535" h="1333500">
                <a:moveTo>
                  <a:pt x="99949" y="0"/>
                </a:moveTo>
                <a:lnTo>
                  <a:pt x="2308535" y="0"/>
                </a:lnTo>
                <a:lnTo>
                  <a:pt x="2308535" y="1333500"/>
                </a:lnTo>
                <a:lnTo>
                  <a:pt x="193618" y="1333500"/>
                </a:lnTo>
                <a:lnTo>
                  <a:pt x="129160" y="1199694"/>
                </a:lnTo>
                <a:cubicBezTo>
                  <a:pt x="45991" y="1003060"/>
                  <a:pt x="0" y="786872"/>
                  <a:pt x="0" y="559942"/>
                </a:cubicBezTo>
                <a:cubicBezTo>
                  <a:pt x="0" y="389745"/>
                  <a:pt x="25870" y="225590"/>
                  <a:pt x="73892" y="71194"/>
                </a:cubicBezTo>
                <a:close/>
              </a:path>
            </a:pathLst>
          </a:custGeom>
          <a:solidFill>
            <a:srgbClr val="BAD2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9" name="Freeform 118"/>
          <p:cNvSpPr/>
          <p:nvPr/>
        </p:nvSpPr>
        <p:spPr>
          <a:xfrm>
            <a:off x="7128688" y="-1036"/>
            <a:ext cx="1786711" cy="1333500"/>
          </a:xfrm>
          <a:custGeom>
            <a:avLst/>
            <a:gdLst>
              <a:gd name="connsiteX0" fmla="*/ 99949 w 2308535"/>
              <a:gd name="connsiteY0" fmla="*/ 0 h 1333500"/>
              <a:gd name="connsiteX1" fmla="*/ 2308535 w 2308535"/>
              <a:gd name="connsiteY1" fmla="*/ 0 h 1333500"/>
              <a:gd name="connsiteX2" fmla="*/ 2308535 w 2308535"/>
              <a:gd name="connsiteY2" fmla="*/ 1333500 h 1333500"/>
              <a:gd name="connsiteX3" fmla="*/ 193618 w 2308535"/>
              <a:gd name="connsiteY3" fmla="*/ 1333500 h 1333500"/>
              <a:gd name="connsiteX4" fmla="*/ 129160 w 2308535"/>
              <a:gd name="connsiteY4" fmla="*/ 1199694 h 1333500"/>
              <a:gd name="connsiteX5" fmla="*/ 0 w 2308535"/>
              <a:gd name="connsiteY5" fmla="*/ 559942 h 1333500"/>
              <a:gd name="connsiteX6" fmla="*/ 73892 w 2308535"/>
              <a:gd name="connsiteY6" fmla="*/ 71194 h 133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8535" h="1333500">
                <a:moveTo>
                  <a:pt x="99949" y="0"/>
                </a:moveTo>
                <a:lnTo>
                  <a:pt x="2308535" y="0"/>
                </a:lnTo>
                <a:lnTo>
                  <a:pt x="2308535" y="1333500"/>
                </a:lnTo>
                <a:lnTo>
                  <a:pt x="193618" y="1333500"/>
                </a:lnTo>
                <a:lnTo>
                  <a:pt x="129160" y="1199694"/>
                </a:lnTo>
                <a:cubicBezTo>
                  <a:pt x="45991" y="1003060"/>
                  <a:pt x="0" y="786872"/>
                  <a:pt x="0" y="559942"/>
                </a:cubicBezTo>
                <a:cubicBezTo>
                  <a:pt x="0" y="389745"/>
                  <a:pt x="25870" y="225590"/>
                  <a:pt x="73892" y="71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3" name="Rectangle 122"/>
          <p:cNvSpPr/>
          <p:nvPr/>
        </p:nvSpPr>
        <p:spPr>
          <a:xfrm>
            <a:off x="0" y="-1037"/>
            <a:ext cx="10058400" cy="15545837"/>
          </a:xfrm>
          <a:prstGeom prst="rect">
            <a:avLst/>
          </a:prstGeom>
          <a:noFill/>
          <a:ln w="38100"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777" y="12741553"/>
            <a:ext cx="4666943" cy="2299896"/>
          </a:xfrm>
          <a:prstGeom prst="rect">
            <a:avLst/>
          </a:prstGeom>
          <a:ln>
            <a:noFill/>
          </a:ln>
        </p:spPr>
      </p:pic>
      <p:sp>
        <p:nvSpPr>
          <p:cNvPr id="31" name="Rectangle 30"/>
          <p:cNvSpPr/>
          <p:nvPr/>
        </p:nvSpPr>
        <p:spPr>
          <a:xfrm>
            <a:off x="413425" y="2414947"/>
            <a:ext cx="9244584" cy="1510463"/>
          </a:xfrm>
          <a:prstGeom prst="rect">
            <a:avLst/>
          </a:prstGeom>
          <a:solidFill>
            <a:srgbClr val="EBF2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50038" y="78092"/>
            <a:ext cx="6107201" cy="124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A Look </a:t>
            </a: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</a:t>
            </a:r>
            <a:r>
              <a:rPr lang="en-US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side </a:t>
            </a: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</a:t>
            </a:r>
            <a:r>
              <a:rPr lang="en-US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ur Future Together: </a:t>
            </a:r>
          </a:p>
          <a:p>
            <a:pPr>
              <a:lnSpc>
                <a:spcPct val="110000"/>
              </a:lnSpc>
            </a:pPr>
            <a:r>
              <a:rPr lang="en-US" sz="20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Building 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 leadership team to drive </a:t>
            </a:r>
            <a:endParaRPr lang="en-US" sz="2000" b="1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sz="20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ear-term 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alue </a:t>
            </a:r>
            <a:r>
              <a:rPr lang="en-US" sz="20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and long-term 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rowth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0039" y="1750593"/>
            <a:ext cx="6621554" cy="46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2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rised of </a:t>
            </a:r>
            <a:r>
              <a:rPr lang="en-US" sz="12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traordinary talent </a:t>
            </a:r>
            <a:r>
              <a:rPr lang="en-US" sz="122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from both McDermott and CB&amp;I, as well as the wider energy industry, the global leadership team will include: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0038" y="1443362"/>
            <a:ext cx="57075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TH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EXECUTIVE LEADERSHIP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TEA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880607" y="2548215"/>
            <a:ext cx="7463178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DAVID DICKSON</a:t>
            </a:r>
          </a:p>
          <a:p>
            <a:pPr>
              <a:spcAft>
                <a:spcPts val="200"/>
              </a:spcAft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sident &amp; </a:t>
            </a:r>
            <a:r>
              <a:rPr lang="en-US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hief Executive Officer</a:t>
            </a:r>
            <a:endParaRPr lang="en-US" sz="130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Nearly 30 years’ experience in the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ilfield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ngineering and construction industry, holding management positions in market development, project management, engineering and construction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versees the strategic direction of McDermott, including </a:t>
            </a:r>
            <a:r>
              <a:rPr lang="en-US" sz="1000" dirty="0" smtClean="0">
                <a:latin typeface="Century Gothic" panose="020B0502020202020204" pitchFamily="34" charset="0"/>
              </a:rPr>
              <a:t>responsibility </a:t>
            </a:r>
            <a:r>
              <a:rPr lang="en-US" sz="1000" dirty="0">
                <a:latin typeface="Century Gothic" panose="020B0502020202020204" pitchFamily="34" charset="0"/>
              </a:rPr>
              <a:t>f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r the company’s international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growth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pent 11 years with </a:t>
            </a:r>
            <a:r>
              <a:rPr lang="en-US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Technip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S.A. and its subsidiaries, including as President of Technip U.S.A., Inc., with oversight fo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the company’s North America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erations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3425" y="2285940"/>
            <a:ext cx="9243461" cy="0"/>
          </a:xfrm>
          <a:prstGeom prst="line">
            <a:avLst/>
          </a:prstGeom>
          <a:ln w="381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9" t="3640" r="889" b="29693"/>
          <a:stretch/>
        </p:blipFill>
        <p:spPr>
          <a:xfrm>
            <a:off x="592794" y="2614632"/>
            <a:ext cx="1114408" cy="111440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5" t="4664" b="31823"/>
          <a:stretch/>
        </p:blipFill>
        <p:spPr>
          <a:xfrm>
            <a:off x="638748" y="4097615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35" name="TextBox 34"/>
          <p:cNvSpPr txBox="1"/>
          <p:nvPr/>
        </p:nvSpPr>
        <p:spPr>
          <a:xfrm>
            <a:off x="536011" y="4878082"/>
            <a:ext cx="2550526" cy="123110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TUART SPENCE</a:t>
            </a:r>
          </a:p>
          <a:p>
            <a:pPr>
              <a:spcAft>
                <a:spcPts val="300"/>
              </a:spcAft>
            </a:pPr>
            <a:r>
              <a:rPr lang="en-US" sz="9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hief Financial Officer</a:t>
            </a:r>
            <a:endParaRPr lang="en-US" sz="9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0+ years of financial and operational management experienc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Responsible for financial and accounting operations, focused on sustainable, profitable growth and shareholder return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served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 senior management roles at Halliburton and other oilfield services companies</a:t>
            </a:r>
            <a:endParaRPr lang="en-US" sz="7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617657" y="4857680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8" b="27308"/>
          <a:stretch/>
        </p:blipFill>
        <p:spPr>
          <a:xfrm>
            <a:off x="3643794" y="10598348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45" name="TextBox 44"/>
          <p:cNvSpPr txBox="1"/>
          <p:nvPr/>
        </p:nvSpPr>
        <p:spPr>
          <a:xfrm>
            <a:off x="3541530" y="11366127"/>
            <a:ext cx="2533513" cy="134652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JOHN FREEMAN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egal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30+ years of legal experience both in the private and public sector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Before joining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cDermott, served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s Special Advisor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for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the Integration of Technip and FMC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responsible for worldwide leadership of all legal and compliance </a:t>
            </a:r>
            <a:r>
              <a:rPr lang="en-US" sz="750" dirty="0">
                <a:latin typeface="Century Gothic" panose="020B0502020202020204" pitchFamily="34" charset="0"/>
              </a:rPr>
              <a:t>matters a</a:t>
            </a:r>
            <a:r>
              <a:rPr lang="en-US" sz="750" dirty="0" smtClean="0">
                <a:latin typeface="Century Gothic" panose="020B0502020202020204" pitchFamily="34" charset="0"/>
              </a:rPr>
              <a:t>t </a:t>
            </a:r>
            <a:r>
              <a:rPr lang="en-US" sz="750" dirty="0">
                <a:latin typeface="Century Gothic" panose="020B0502020202020204" pitchFamily="34" charset="0"/>
              </a:rPr>
              <a:t>Technip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, based in Paris </a:t>
            </a:r>
          </a:p>
          <a:p>
            <a:endParaRPr lang="en-US" sz="7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3623466" y="11334177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4" t="4426" b="31447"/>
          <a:stretch/>
        </p:blipFill>
        <p:spPr>
          <a:xfrm>
            <a:off x="638749" y="8389508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61" name="TextBox 60"/>
          <p:cNvSpPr txBox="1"/>
          <p:nvPr/>
        </p:nvSpPr>
        <p:spPr>
          <a:xfrm>
            <a:off x="536011" y="9147523"/>
            <a:ext cx="2550527" cy="134652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BRIAN MCLAUGHLIN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mercial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enced executive with international expertise in the oil and gas industry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served as McDermott’s SVP, Commercial, and held multiple leadership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roles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ince joining the company in 2006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Before joining McDermott, held roles with several companies throughout the Middle East and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/>
            </a:r>
            <a:b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</a:b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ther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untries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617658" y="9131982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6" name="Picture 11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6" b="28540"/>
          <a:stretch/>
        </p:blipFill>
        <p:spPr>
          <a:xfrm>
            <a:off x="6792449" y="8377785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66" name="TextBox 65"/>
          <p:cNvSpPr txBox="1"/>
          <p:nvPr/>
        </p:nvSpPr>
        <p:spPr>
          <a:xfrm>
            <a:off x="6685631" y="9143960"/>
            <a:ext cx="2544559" cy="123110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COTT MUNRO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rporate Development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tensive international management experience in the oil and gas industry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responsible for the growth and development of McDermott’s business across the Americas, Europe and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frica</a:t>
            </a:r>
            <a:endParaRPr lang="en-US" sz="7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ence at oil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nd gas companies in the UK,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U.S.,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anada, Brazil and France</a:t>
            </a:r>
          </a:p>
        </p:txBody>
      </p:sp>
      <p:cxnSp>
        <p:nvCxnSpPr>
          <p:cNvPr id="67" name="Straight Connector 66"/>
          <p:cNvCxnSpPr/>
          <p:nvPr/>
        </p:nvCxnSpPr>
        <p:spPr>
          <a:xfrm>
            <a:off x="6761311" y="9131982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>
            <a:off x="536011" y="13386138"/>
            <a:ext cx="2550526" cy="134652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TONY BROWN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tegration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ccomplished executive who has served in senior legal, sales and strategy roles 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led Strategy for McDermott and is currently integration planning lead for McDermott’s combination with CB&amp;I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areer with McDermott includes leading global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itiatives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nd strengthening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relationships </a:t>
            </a:r>
            <a:b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</a:b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with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ustomers</a:t>
            </a:r>
          </a:p>
        </p:txBody>
      </p:sp>
      <p:cxnSp>
        <p:nvCxnSpPr>
          <p:cNvPr id="80" name="Straight Connector 79"/>
          <p:cNvCxnSpPr/>
          <p:nvPr/>
        </p:nvCxnSpPr>
        <p:spPr>
          <a:xfrm>
            <a:off x="617657" y="13369510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40" b="28686"/>
          <a:stretch/>
        </p:blipFill>
        <p:spPr>
          <a:xfrm>
            <a:off x="638275" y="6265741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81" name="TextBox 80"/>
          <p:cNvSpPr txBox="1"/>
          <p:nvPr/>
        </p:nvSpPr>
        <p:spPr>
          <a:xfrm>
            <a:off x="536011" y="7045698"/>
            <a:ext cx="2575283" cy="134652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AN PRESCOTT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sia Pacific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spc="-1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8+ years of experience of extensive operational, marketing and business unit responsibilitie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VP, Asia at McDermott and member of the company’s Executive Committee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held top leadership positions at SNC-Lavalin and Global Process Systems 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endParaRPr lang="en-US" sz="7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endParaRPr lang="en-US" sz="7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2" name="Straight Connector 81"/>
          <p:cNvCxnSpPr/>
          <p:nvPr/>
        </p:nvCxnSpPr>
        <p:spPr>
          <a:xfrm>
            <a:off x="617947" y="7018694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3" t="4413" b="29778"/>
          <a:stretch/>
        </p:blipFill>
        <p:spPr>
          <a:xfrm>
            <a:off x="3643793" y="6265741"/>
            <a:ext cx="658368" cy="658368"/>
          </a:xfrm>
          <a:prstGeom prst="ellipse">
            <a:avLst/>
          </a:prstGeom>
          <a:solidFill>
            <a:srgbClr val="A29E9F"/>
          </a:solidFill>
          <a:ln w="19050">
            <a:solidFill>
              <a:srgbClr val="017DC3"/>
            </a:solidFill>
          </a:ln>
        </p:spPr>
      </p:pic>
      <p:sp>
        <p:nvSpPr>
          <p:cNvPr id="99" name="TextBox 98"/>
          <p:cNvSpPr txBox="1"/>
          <p:nvPr/>
        </p:nvSpPr>
        <p:spPr>
          <a:xfrm>
            <a:off x="3541530" y="7041702"/>
            <a:ext cx="2533513" cy="134652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INH AUSTIN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iddle East &amp; North Africa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0+ years of progressive experience in directing oil and gas projects, strategy, </a:t>
            </a:r>
            <a:r>
              <a:rPr lang="en-US" sz="750" dirty="0" smtClean="0">
                <a:latin typeface="Century Gothic" panose="020B0502020202020204" pitchFamily="34" charset="0"/>
              </a:rPr>
              <a:t>P&amp;L </a:t>
            </a:r>
            <a:r>
              <a:rPr lang="en-US" sz="750" dirty="0">
                <a:latin typeface="Century Gothic" panose="020B0502020202020204" pitchFamily="34" charset="0"/>
              </a:rPr>
              <a:t>and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hange management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VP, Middle East and Caspian for McDermott after joining the company in 2015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spc="-1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ior to joining McDermott, served as Senior Advisor to the </a:t>
            </a:r>
            <a:r>
              <a:rPr lang="en-US" sz="750" spc="-1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eadership </a:t>
            </a:r>
            <a:r>
              <a:rPr lang="en-US" sz="750" spc="-1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f ADMA-OPCO in Abu </a:t>
            </a:r>
            <a:r>
              <a:rPr lang="en-US" sz="750" spc="-1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Dhabi</a:t>
            </a:r>
            <a:endParaRPr lang="en-US" sz="750" strike="sngStrike" spc="-1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endParaRPr lang="en-US" sz="750" spc="-1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00" name="Straight Connector 99"/>
          <p:cNvCxnSpPr/>
          <p:nvPr/>
        </p:nvCxnSpPr>
        <p:spPr>
          <a:xfrm>
            <a:off x="3623465" y="7018694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7" t="5327" b="29214"/>
          <a:stretch/>
        </p:blipFill>
        <p:spPr>
          <a:xfrm>
            <a:off x="3648348" y="8377785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102" name="TextBox 101"/>
          <p:cNvSpPr txBox="1"/>
          <p:nvPr/>
        </p:nvSpPr>
        <p:spPr>
          <a:xfrm>
            <a:off x="3541530" y="9149397"/>
            <a:ext cx="2544560" cy="111569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JONATHAN KENNEFICK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oject Execution &amp; Delivery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0+ years of experience in offshore construction project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Joined McDermott in 1992 and most recently served as SVP, Project Execution and Delivery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ence leading projects both in </a:t>
            </a:r>
            <a:r>
              <a:rPr lang="en-US" sz="75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deepwater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and shallow water infrastructure</a:t>
            </a:r>
          </a:p>
        </p:txBody>
      </p:sp>
      <p:cxnSp>
        <p:nvCxnSpPr>
          <p:cNvPr id="103" name="Straight Connector 102"/>
          <p:cNvCxnSpPr/>
          <p:nvPr/>
        </p:nvCxnSpPr>
        <p:spPr>
          <a:xfrm>
            <a:off x="3617210" y="9131982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7441875" y="236842"/>
            <a:ext cx="2301951" cy="924370"/>
            <a:chOff x="7916384" y="274339"/>
            <a:chExt cx="1809010" cy="726425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6384" y="274339"/>
              <a:ext cx="726429" cy="726425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3323" y="363460"/>
              <a:ext cx="762071" cy="495976"/>
            </a:xfrm>
            <a:prstGeom prst="rect">
              <a:avLst/>
            </a:prstGeom>
          </p:spPr>
        </p:pic>
      </p:grpSp>
      <p:sp>
        <p:nvSpPr>
          <p:cNvPr id="48" name="TextBox 47"/>
          <p:cNvSpPr txBox="1"/>
          <p:nvPr/>
        </p:nvSpPr>
        <p:spPr>
          <a:xfrm>
            <a:off x="536011" y="11366127"/>
            <a:ext cx="2544560" cy="123110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TEVE ALLEN</a:t>
            </a:r>
          </a:p>
          <a:p>
            <a:pPr>
              <a:spcAft>
                <a:spcPts val="300"/>
              </a:spcAft>
            </a:pPr>
            <a:r>
              <a:rPr lang="en-US" sz="9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Human Resources</a:t>
            </a:r>
            <a:endParaRPr lang="en-US" sz="9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5+ years of human resources experienc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eadership roles in compensation, benefits, talent acquisition, talent management and real estate management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led HR functions at both </a:t>
            </a:r>
            <a:r>
              <a:rPr lang="en-US" sz="75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Technip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USA and Duke Energy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endParaRPr lang="en-US" sz="7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11691" y="11334177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8" t="7247" r="8477" b="28037"/>
          <a:stretch/>
        </p:blipFill>
        <p:spPr>
          <a:xfrm>
            <a:off x="642829" y="10598348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3691221" y="12708981"/>
            <a:ext cx="1114953" cy="192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5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We are Driving Energy Forward with Integrated End-to-End Solutions</a:t>
            </a:r>
            <a:r>
              <a:rPr lang="en-US" sz="135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endParaRPr lang="en-US" sz="1350" b="1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685631" y="7037455"/>
            <a:ext cx="2713273" cy="100027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DANIEL </a:t>
            </a:r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CCARTHY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Technology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40+ years of experience in the energy industry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led CB&amp;I’s Technology busines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eadership roles and responsibilities include process engineering and design, process licensing, global product marketing and management</a:t>
            </a:r>
          </a:p>
        </p:txBody>
      </p:sp>
      <p:cxnSp>
        <p:nvCxnSpPr>
          <p:cNvPr id="64" name="Straight Connector 63"/>
          <p:cNvCxnSpPr/>
          <p:nvPr/>
        </p:nvCxnSpPr>
        <p:spPr>
          <a:xfrm>
            <a:off x="6767567" y="7018694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67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8" b="28828"/>
          <a:stretch/>
        </p:blipFill>
        <p:spPr>
          <a:xfrm>
            <a:off x="6787895" y="6265741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sp>
        <p:nvSpPr>
          <p:cNvPr id="125" name="TextBox 124"/>
          <p:cNvSpPr txBox="1"/>
          <p:nvPr/>
        </p:nvSpPr>
        <p:spPr>
          <a:xfrm>
            <a:off x="6685630" y="11363635"/>
            <a:ext cx="2789089" cy="123110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GENTRY BRANN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munication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spc="-1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5+ years’ experience in strategic communications, marketing, public affairs and investor relations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ed global internal and external </a:t>
            </a:r>
            <a:r>
              <a:rPr lang="en-US" sz="75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munications </a:t>
            </a:r>
            <a:r>
              <a:rPr lang="en-US" sz="75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/>
            </a:r>
            <a:br>
              <a:rPr lang="en-US" sz="75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</a:br>
            <a:r>
              <a:rPr lang="en-US" sz="75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t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B&amp;I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held </a:t>
            </a:r>
            <a:r>
              <a:rPr lang="en-US" sz="7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munications </a:t>
            </a: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nd marketing leadership roles in engineering and construction, government, and advertising and public relations firms </a:t>
            </a:r>
          </a:p>
        </p:txBody>
      </p:sp>
      <p:cxnSp>
        <p:nvCxnSpPr>
          <p:cNvPr id="126" name="Straight Connector 125"/>
          <p:cNvCxnSpPr/>
          <p:nvPr/>
        </p:nvCxnSpPr>
        <p:spPr>
          <a:xfrm>
            <a:off x="6767277" y="11334177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6685631" y="4880766"/>
            <a:ext cx="2543680" cy="136191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sz="9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TAREQ KAWASH</a:t>
            </a:r>
          </a:p>
          <a:p>
            <a:pPr>
              <a:spcAft>
                <a:spcPts val="300"/>
              </a:spcAft>
            </a:pP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urope, Africa, </a:t>
            </a:r>
            <a:r>
              <a:rPr lang="en-US" sz="9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Russia &amp; </a:t>
            </a:r>
            <a:r>
              <a:rPr lang="en-US" sz="9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aspian</a:t>
            </a:r>
          </a:p>
          <a:p>
            <a:pPr marL="137160" indent="-137160">
              <a:lnSpc>
                <a:spcPct val="98000"/>
              </a:lnSpc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Nearly 30 years of experience in the engineering and construction industry </a:t>
            </a:r>
          </a:p>
          <a:p>
            <a:pPr marL="137160" indent="-137160">
              <a:lnSpc>
                <a:spcPct val="98000"/>
              </a:lnSpc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eviously led international operations for CB&amp;I’s Engineering &amp; Construction business</a:t>
            </a:r>
          </a:p>
          <a:p>
            <a:pPr marL="137160" indent="-137160">
              <a:lnSpc>
                <a:spcPct val="98000"/>
              </a:lnSpc>
              <a:buFont typeface="Arial" panose="020B0604020202020204" pitchFamily="34" charset="0"/>
              <a:buChar char="•"/>
            </a:pPr>
            <a:r>
              <a:rPr lang="en-US" sz="75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areer includes business development, operational and project management roles in Europe, the Middle East and Africa </a:t>
            </a:r>
          </a:p>
          <a:p>
            <a:pPr>
              <a:lnSpc>
                <a:spcPct val="98000"/>
              </a:lnSpc>
            </a:pPr>
            <a:endParaRPr lang="en-US" sz="75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5" name="Straight Connector 84"/>
          <p:cNvCxnSpPr/>
          <p:nvPr/>
        </p:nvCxnSpPr>
        <p:spPr>
          <a:xfrm>
            <a:off x="6761310" y="4857680"/>
            <a:ext cx="2468880" cy="0"/>
          </a:xfrm>
          <a:prstGeom prst="line">
            <a:avLst/>
          </a:prstGeom>
          <a:ln w="28575" cap="rnd">
            <a:solidFill>
              <a:srgbClr val="017D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7" t="3239" r="4767" b="34441"/>
          <a:stretch/>
        </p:blipFill>
        <p:spPr>
          <a:xfrm>
            <a:off x="6792448" y="4097615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" t="3217" r="2631" b="33113"/>
          <a:stretch/>
        </p:blipFill>
        <p:spPr>
          <a:xfrm>
            <a:off x="636053" y="12623239"/>
            <a:ext cx="658368" cy="658368"/>
          </a:xfrm>
          <a:prstGeom prst="ellipse">
            <a:avLst/>
          </a:prstGeom>
          <a:solidFill>
            <a:srgbClr val="A29E9F"/>
          </a:solidFill>
          <a:ln w="19050">
            <a:solidFill>
              <a:srgbClr val="017DC3"/>
            </a:solidFill>
          </a:ln>
        </p:spPr>
      </p:pic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2" b="28594"/>
          <a:stretch/>
        </p:blipFill>
        <p:spPr>
          <a:xfrm>
            <a:off x="3648348" y="4100574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  <p:pic>
        <p:nvPicPr>
          <p:cNvPr id="73" name="Picture 72"/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6" b="30380"/>
          <a:stretch/>
        </p:blipFill>
        <p:spPr>
          <a:xfrm>
            <a:off x="6792449" y="10603929"/>
            <a:ext cx="658368" cy="658368"/>
          </a:xfrm>
          <a:prstGeom prst="ellipse">
            <a:avLst/>
          </a:prstGeom>
          <a:ln w="19050">
            <a:solidFill>
              <a:srgbClr val="017DC3"/>
            </a:solidFill>
          </a:ln>
        </p:spPr>
      </p:pic>
    </p:spTree>
    <p:extLst>
      <p:ext uri="{BB962C8B-B14F-4D97-AF65-F5344CB8AC3E}">
        <p14:creationId xmlns:p14="http://schemas.microsoft.com/office/powerpoint/2010/main" val="3219101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ckground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8950</TotalTime>
  <Words>690</Words>
  <Application>Microsoft Office PowerPoint</Application>
  <PresentationFormat>Custom</PresentationFormat>
  <Paragraphs>7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entury Gothic</vt:lpstr>
      <vt:lpstr>Century Gothic Regular</vt:lpstr>
      <vt:lpstr>Background</vt:lpstr>
      <vt:lpstr>think-cell Slid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yes, Chris</dc:creator>
  <cp:lastModifiedBy>Killary, Katie</cp:lastModifiedBy>
  <cp:revision>3032</cp:revision>
  <cp:lastPrinted>2017-05-19T19:28:00Z</cp:lastPrinted>
  <dcterms:created xsi:type="dcterms:W3CDTF">2016-06-07T20:40:07Z</dcterms:created>
  <dcterms:modified xsi:type="dcterms:W3CDTF">2018-03-11T00:5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78d2140d-5cc7-4566-904a-ed969736cb81</vt:lpwstr>
  </property>
  <property fmtid="{D5CDD505-2E9C-101B-9397-08002B2CF9AE}" pid="3" name="MCDERMOTTClassification">
    <vt:lpwstr>Public - General Business</vt:lpwstr>
  </property>
  <property fmtid="{D5CDD505-2E9C-101B-9397-08002B2CF9AE}" pid="4" name="MSIP_Label_10fbe85e-00b2-4d4f-a005-60226966005b_Enabled">
    <vt:lpwstr>False</vt:lpwstr>
  </property>
  <property fmtid="{D5CDD505-2E9C-101B-9397-08002B2CF9AE}" pid="5" name="MSIP_Label_10fbe85e-00b2-4d4f-a005-60226966005b_Ref">
    <vt:lpwstr>https://api.informationprotection.azure.com/api/73faca80-f981-4662-85da-6c374785348d</vt:lpwstr>
  </property>
  <property fmtid="{D5CDD505-2E9C-101B-9397-08002B2CF9AE}" pid="6" name="MSIP_Label_10fbe85e-00b2-4d4f-a005-60226966005b_AssignedBy">
    <vt:lpwstr>iorimoloye@mcdermott.com</vt:lpwstr>
  </property>
  <property fmtid="{D5CDD505-2E9C-101B-9397-08002B2CF9AE}" pid="7" name="MSIP_Label_10fbe85e-00b2-4d4f-a005-60226966005b_DateCreated">
    <vt:lpwstr>2017-05-28T13:42:18.6780000-05:00</vt:lpwstr>
  </property>
  <property fmtid="{D5CDD505-2E9C-101B-9397-08002B2CF9AE}" pid="8" name="MSIP_Label_10fbe85e-00b2-4d4f-a005-60226966005b_Name">
    <vt:lpwstr>Public</vt:lpwstr>
  </property>
  <property fmtid="{D5CDD505-2E9C-101B-9397-08002B2CF9AE}" pid="9" name="MSIP_Label_10fbe85e-00b2-4d4f-a005-60226966005b_Extended_MSFT_Method">
    <vt:lpwstr>Manual</vt:lpwstr>
  </property>
  <property fmtid="{D5CDD505-2E9C-101B-9397-08002B2CF9AE}" pid="10" name="Sensitivity">
    <vt:lpwstr/>
  </property>
</Properties>
</file>